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65" r:id="rId3"/>
    <p:sldId id="266" r:id="rId4"/>
    <p:sldId id="267" r:id="rId5"/>
    <p:sldId id="268" r:id="rId6"/>
    <p:sldId id="269" r:id="rId7"/>
    <p:sldId id="270" r:id="rId8"/>
    <p:sldId id="271" r:id="rId9"/>
    <p:sldId id="272" r:id="rId10"/>
    <p:sldId id="273" r:id="rId11"/>
    <p:sldId id="274" r:id="rId12"/>
    <p:sldId id="264" r:id="rId13"/>
  </p:sldIdLst>
  <p:sldSz cx="12192000" cy="6858000"/>
  <p:notesSz cx="6858000" cy="9144000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D5AD"/>
    <a:srgbClr val="7F7F7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266" autoAdjust="0"/>
    <p:restoredTop sz="70677" autoAdjust="0"/>
  </p:normalViewPr>
  <p:slideViewPr>
    <p:cSldViewPr snapToGrid="0">
      <p:cViewPr varScale="1">
        <p:scale>
          <a:sx n="45" d="100"/>
          <a:sy n="45" d="100"/>
        </p:scale>
        <p:origin x="1070" y="43"/>
      </p:cViewPr>
      <p:guideLst>
        <p:guide orient="horz" pos="2183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B17D40A8-3060-7C4B-92C2-E388C41F8833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543B1638-B48E-8245-BF00-741F2A050C05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13316" name="Rectangle 4">
            <a:extLst>
              <a:ext uri="{FF2B5EF4-FFF2-40B4-BE49-F238E27FC236}">
                <a16:creationId xmlns:a16="http://schemas.microsoft.com/office/drawing/2014/main" id="{F42465CA-C4F7-1D45-86EE-F4F351576271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BABD8CC4-760D-F349-8C6C-E9EF89613D41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e durch Klicken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21DB2467-B9AB-E546-9414-FB45E187B37A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/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D9CB2127-8AA9-4041-9BB3-F0E539B9426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mtClean="0"/>
            </a:lvl1pPr>
          </a:lstStyle>
          <a:p>
            <a:pPr>
              <a:defRPr/>
            </a:pPr>
            <a:fld id="{42037ED6-21E9-4141-80FB-32E0CFA25F7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2037ED6-21E9-4141-80FB-32E0CFA25F74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11399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037ED6-21E9-4141-80FB-32E0CFA25F74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8562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037ED6-21E9-4141-80FB-32E0CFA25F74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58775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037ED6-21E9-4141-80FB-32E0CFA25F74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04309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037ED6-21E9-4141-80FB-32E0CFA25F74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8517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8">
            <a:extLst>
              <a:ext uri="{FF2B5EF4-FFF2-40B4-BE49-F238E27FC236}">
                <a16:creationId xmlns:a16="http://schemas.microsoft.com/office/drawing/2014/main" id="{8229B621-DFC0-104B-A8A3-6B44CEDAEA9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719680" y="6135688"/>
            <a:ext cx="10748433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200"/>
          </a:p>
        </p:txBody>
      </p:sp>
      <p:graphicFrame>
        <p:nvGraphicFramePr>
          <p:cNvPr id="6" name="Rectangle 14" hidden="1">
            <a:extLst>
              <a:ext uri="{FF2B5EF4-FFF2-40B4-BE49-F238E27FC236}">
                <a16:creationId xmlns:a16="http://schemas.microsoft.com/office/drawing/2014/main" id="{BE4954C8-4CA0-BD4A-9D68-B6B68F1EEC6A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33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6388" name="Rectangle 14" hidden="1">
                        <a:extLst>
                          <a:ext uri="{FF2B5EF4-FFF2-40B4-BE49-F238E27FC236}">
                            <a16:creationId xmlns:a16="http://schemas.microsoft.com/office/drawing/2014/main" id="{C4CFDA04-706B-BC47-B2F2-92DBEA6CB2A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7" descr="TU_130227_PPT_Bild-Aussicht">
            <a:extLst>
              <a:ext uri="{FF2B5EF4-FFF2-40B4-BE49-F238E27FC236}">
                <a16:creationId xmlns:a16="http://schemas.microsoft.com/office/drawing/2014/main" id="{10960EA4-8613-1248-940B-135DCA204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27" y="1636955"/>
            <a:ext cx="11472333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680" y="4119787"/>
            <a:ext cx="10748433" cy="10369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 dirty="0"/>
              <a:t>Titel durch Klicken hinzufüg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680" y="5686415"/>
            <a:ext cx="10748433" cy="252441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Untertitel durch Klicken hinzufügen</a:t>
            </a:r>
          </a:p>
        </p:txBody>
      </p:sp>
      <p:pic>
        <p:nvPicPr>
          <p:cNvPr id="9" name="Picture 9" descr="TU_Logo_lang_RGB_rot_PPT-1">
            <a:extLst>
              <a:ext uri="{FF2B5EF4-FFF2-40B4-BE49-F238E27FC236}">
                <a16:creationId xmlns:a16="http://schemas.microsoft.com/office/drawing/2014/main" id="{ECB81468-0713-CC4F-91D7-ABB3A0BBC86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7525" y="568335"/>
            <a:ext cx="1746233" cy="97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>
            <a:extLst>
              <a:ext uri="{FF2B5EF4-FFF2-40B4-BE49-F238E27FC236}">
                <a16:creationId xmlns:a16="http://schemas.microsoft.com/office/drawing/2014/main" id="{A2C13507-52FE-A14D-9925-0E0B24921B9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34" y="568335"/>
            <a:ext cx="1837637" cy="87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4299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5BE21A9-7E8E-3440-9130-2137761F0735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93264F21-E831-C742-BF97-AE4A6944D1FC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0FE089D4-5D66-524D-B29D-170D1304C65B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392712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82052" y="1717675"/>
            <a:ext cx="358560" cy="42735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19667" y="1717675"/>
            <a:ext cx="7859184" cy="4273550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12E3FEB0-3BDA-FD41-A4EF-A6CF9E377823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0DDE9333-98E7-1648-BDD1-9E658FB567DB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0E7D0737-B3FF-9247-B728-01C284AC4ABC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548106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749F172C-9D8B-934D-9573-F57E77F85136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516C8F76-8543-0347-A8B7-5B59EE73864B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4407531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4098832"/>
            <a:ext cx="10515600" cy="463653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1" y="4589482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E1D9CA71-5E80-7043-8CBD-351824C7E7CE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517348DD-AAB9-7942-91CF-09BD4CC3845C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F153F7A8-9590-0845-8961-5F3EB09E631D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2397519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19680" y="2349502"/>
            <a:ext cx="5272617" cy="3641725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5484" y="2349502"/>
            <a:ext cx="5272616" cy="3641725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F65C2B6E-018E-E840-B35E-2AE17CAA7C52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43710248-9BB2-954B-8CE1-76946C6A920B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96768F23-D205-374D-80EA-9A1C9D3970C5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4000252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17" y="1332129"/>
            <a:ext cx="10515600" cy="35856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1961CD2D-7901-7344-B357-896227948313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D5990250-93DC-EC4C-892C-915151CE3D4C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58114BAC-6E25-1D45-A0C5-EF978CC47546}"/>
              </a:ext>
            </a:extLst>
          </p:cNvPr>
          <p:cNvSpPr>
            <a:spLocks noGrp="1" noChangeArrowheads="1"/>
          </p:cNvSpPr>
          <p:nvPr>
            <p:ph type="ftr" sz="quarter" idx="12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31979018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20AA5DD3-B11F-5E42-870E-B5783FC43DDF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C3C0A4D8-D270-2C47-B3DC-5544B6F1C9A2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A610DB8F-E6FD-BA44-BF47-69ACAFEA7649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841192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>
            <a:extLst>
              <a:ext uri="{FF2B5EF4-FFF2-40B4-BE49-F238E27FC236}">
                <a16:creationId xmlns:a16="http://schemas.microsoft.com/office/drawing/2014/main" id="{55008D51-4818-5F41-A5CA-D28FD838DFE3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492633BA-A3F6-BC41-B085-8A4000F1EE44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A196CC32-10E0-4445-9467-B1B2EB049FFA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35179487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30" y="1287977"/>
            <a:ext cx="3932767" cy="769441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717" y="987444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30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7A6F0202-F975-4041-9846-8006437B17CD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B1279EFA-E82C-6D4E-8961-3149847C099F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23A2AD0E-9B16-974A-8349-E0FBC814E5C6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1847395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40330" y="1287977"/>
            <a:ext cx="3932767" cy="769441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717" y="987444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40330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17852A9D-8FEA-4042-B9C3-25FE9FCA8296}"/>
              </a:ext>
            </a:extLst>
          </p:cNvPr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de-DE"/>
              <a:t>Slide </a:t>
            </a:r>
            <a:fld id="{24D3A5F4-58D6-F544-B98E-125D89EC5F03}" type="slidenum">
              <a:rPr lang="de-DE" altLang="de-DE" smtClean="0"/>
              <a:pPr>
                <a:defRPr/>
              </a:pPr>
              <a:t>‹#›</a:t>
            </a:fld>
            <a:endParaRPr lang="de-DE" altLang="de-DE"/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874FB818-7059-2044-A0EC-804B6BBBA5E8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</p:spTree>
    <p:extLst>
      <p:ext uri="{BB962C8B-B14F-4D97-AF65-F5344CB8AC3E}">
        <p14:creationId xmlns:p14="http://schemas.microsoft.com/office/powerpoint/2010/main" val="2257514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F536415B-17A2-364E-9255-31CC05CE07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719680" y="1740115"/>
            <a:ext cx="10748433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/>
              <a:t>Titel durch Klicken hinzufüg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0B5554A5-6E9B-464A-AD68-285223834617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719680" y="2349502"/>
            <a:ext cx="10748433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 durck Klicken hinzufügen</a:t>
            </a:r>
          </a:p>
          <a:p>
            <a:pPr lvl="1"/>
            <a:r>
              <a:rPr lang="de-DE" altLang="de-DE"/>
              <a:t>Xxx</a:t>
            </a:r>
          </a:p>
        </p:txBody>
      </p:sp>
      <p:sp>
        <p:nvSpPr>
          <p:cNvPr id="1037" name="Rectangle 13">
            <a:extLst>
              <a:ext uri="{FF2B5EF4-FFF2-40B4-BE49-F238E27FC236}">
                <a16:creationId xmlns:a16="http://schemas.microsoft.com/office/drawing/2014/main" id="{37E118AA-56B2-034B-9845-164F3DA97F47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719669" y="6372225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C7E1EF21-965B-0B49-8CDA-34A5B4581003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719669" y="6557963"/>
            <a:ext cx="8832851" cy="1524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 altLang="de-DE" dirty="0"/>
              <a:t>Slide </a:t>
            </a:r>
            <a:fld id="{C9375A92-D38B-304E-BF5F-2D656241BA5A}" type="slidenum">
              <a:rPr lang="de-DE" altLang="de-DE" smtClean="0"/>
              <a:pPr>
                <a:defRPr/>
              </a:pPr>
              <a:t>‹#›</a:t>
            </a:fld>
            <a:endParaRPr lang="de-DE" altLang="de-DE" dirty="0"/>
          </a:p>
        </p:txBody>
      </p:sp>
      <p:graphicFrame>
        <p:nvGraphicFramePr>
          <p:cNvPr id="1031" name="Rectangle 18" hidden="1">
            <a:extLst>
              <a:ext uri="{FF2B5EF4-FFF2-40B4-BE49-F238E27FC236}">
                <a16:creationId xmlns:a16="http://schemas.microsoft.com/office/drawing/2014/main" id="{37DEF188-AD41-A44F-9CB5-9EF16795B9E8}"/>
              </a:ext>
            </a:extLst>
          </p:cNvPr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">
            <a:extLst>
              <a:ext uri="{FF2B5EF4-FFF2-40B4-BE49-F238E27FC236}">
                <a16:creationId xmlns:a16="http://schemas.microsoft.com/office/drawing/2014/main" id="{A00C86D8-91AF-1046-A352-16C587FEEE2D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213" y="6117385"/>
            <a:ext cx="1104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TU_Logo_lang_RGB_rot_PPT-2">
            <a:extLst>
              <a:ext uri="{FF2B5EF4-FFF2-40B4-BE49-F238E27FC236}">
                <a16:creationId xmlns:a16="http://schemas.microsoft.com/office/drawing/2014/main" id="{C975DF15-19AA-254D-AEEA-B54C311BBD53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9688" y="427760"/>
            <a:ext cx="13684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3" descr="TU_130227_PPT_Bild-Aussicht_Streifen">
            <a:extLst>
              <a:ext uri="{FF2B5EF4-FFF2-40B4-BE49-F238E27FC236}">
                <a16:creationId xmlns:a16="http://schemas.microsoft.com/office/drawing/2014/main" id="{801406C8-E0DC-9643-A838-E936D4E445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7072"/>
            <a:ext cx="9355621" cy="1025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fontAlgn="base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>
            <a:extLst>
              <a:ext uri="{FF2B5EF4-FFF2-40B4-BE49-F238E27FC236}">
                <a16:creationId xmlns:a16="http://schemas.microsoft.com/office/drawing/2014/main" id="{725B4141-6E90-D840-AC4F-459285B54F54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59902" y="4015110"/>
            <a:ext cx="11051671" cy="1453314"/>
          </a:xfrm>
        </p:spPr>
        <p:txBody>
          <a:bodyPr anchor="ctr">
            <a:normAutofit/>
          </a:bodyPr>
          <a:lstStyle/>
          <a:p>
            <a:r>
              <a:rPr lang="en-US" dirty="0"/>
              <a:t>Mean Opinion Score and Ranked based Statistics</a:t>
            </a:r>
          </a:p>
        </p:txBody>
      </p:sp>
      <p:sp>
        <p:nvSpPr>
          <p:cNvPr id="14338" name="Rectangle 3">
            <a:extLst>
              <a:ext uri="{FF2B5EF4-FFF2-40B4-BE49-F238E27FC236}">
                <a16:creationId xmlns:a16="http://schemas.microsoft.com/office/drawing/2014/main" id="{B9A27A4A-923E-3A41-958C-FEBC00B1D15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59902" y="5615558"/>
            <a:ext cx="9436002" cy="621773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altLang="de-DE" sz="2000" dirty="0"/>
              <a:t>Babak Naderi | QU Lab – </a:t>
            </a:r>
            <a:r>
              <a:rPr lang="en-US" altLang="de-DE" sz="2000" dirty="0" err="1"/>
              <a:t>Technische</a:t>
            </a:r>
            <a:r>
              <a:rPr lang="en-US" altLang="de-DE" sz="2000" dirty="0"/>
              <a:t> Universität Berlin </a:t>
            </a:r>
          </a:p>
          <a:p>
            <a:pPr>
              <a:lnSpc>
                <a:spcPct val="100000"/>
              </a:lnSpc>
            </a:pPr>
            <a:r>
              <a:rPr lang="en-US" altLang="de-DE" sz="1200" dirty="0"/>
              <a:t>15.12.2020 VQEG</a:t>
            </a:r>
          </a:p>
          <a:p>
            <a:pPr eaLnBrk="1" hangingPunct="1"/>
            <a:endParaRPr lang="en-US" altLang="de-DE" sz="2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Stud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0" y="2349502"/>
            <a:ext cx="6528845" cy="3641725"/>
          </a:xfrm>
        </p:spPr>
        <p:txBody>
          <a:bodyPr/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ataset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: Speech quality assessment domain, conducted in lab, according to the ITU-T P.800, with 50 conditions. We took </a:t>
            </a:r>
            <a:r>
              <a:rPr lang="en-US" sz="1600" b="1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10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conditions with highest MOS values (i.e. </a:t>
            </a:r>
            <a:r>
              <a:rPr lang="en-US" sz="1600" b="1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rue MOS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)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imulation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: generate White Gaussian Noise (</a:t>
            </a:r>
            <a:r>
              <a:rPr lang="en-DE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µ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=0, different STD) and added to the true MOS to make “</a:t>
            </a:r>
            <a:r>
              <a:rPr lang="en-US" sz="1600" b="1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noisy MOS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” (1000 run per STD)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alculate SRCC between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true MO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noisy MOS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ur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ation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igure shows the largest observed difference</a:t>
            </a:r>
            <a:r>
              <a:rPr lang="en-US" sz="160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 1000 runs.</a:t>
            </a:r>
          </a:p>
          <a:p>
            <a:endParaRPr lang="en-US" dirty="0"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10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848" y="2349502"/>
            <a:ext cx="5047090" cy="378675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19669" y="6043226"/>
            <a:ext cx="25206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aseline="30000" dirty="0"/>
              <a:t>1 </a:t>
            </a:r>
            <a:r>
              <a:rPr lang="en-US" dirty="0"/>
              <a:t>Only positive difference is plotted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3270184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C00000"/>
                </a:solidFill>
              </a:rPr>
              <a:t>Rank based statistics </a:t>
            </a:r>
            <a:r>
              <a:rPr lang="en-US" sz="1800" dirty="0"/>
              <a:t>can be misleading when used with MOS values.</a:t>
            </a:r>
          </a:p>
          <a:p>
            <a:pPr lvl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</a:rPr>
              <a:t>Correlations: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  <a:r>
              <a:rPr lang="en-US" sz="1600" dirty="0"/>
              <a:t>Spearman’s  and  Kendall’s rank correlation</a:t>
            </a:r>
          </a:p>
          <a:p>
            <a:pPr lvl="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C00000"/>
                </a:solidFill>
              </a:rPr>
              <a:t>Sig. tests</a:t>
            </a:r>
            <a:r>
              <a:rPr lang="en-US" sz="1600" b="1" dirty="0"/>
              <a:t>:</a:t>
            </a:r>
            <a:r>
              <a:rPr lang="en-US" sz="1600" dirty="0"/>
              <a:t> Mann-Whitney U Test, Wilcoxon signed-rank test, </a:t>
            </a:r>
            <a:r>
              <a:rPr lang="en-US" sz="1600" dirty="0" err="1"/>
              <a:t>Kruskal</a:t>
            </a:r>
            <a:r>
              <a:rPr lang="en-US" sz="1600" dirty="0"/>
              <a:t>-Wallis Test, Friedman Test</a:t>
            </a:r>
          </a:p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Use the </a:t>
            </a:r>
            <a:r>
              <a:rPr lang="en-US" sz="1800" dirty="0">
                <a:solidFill>
                  <a:srgbClr val="C00000"/>
                </a:solidFill>
              </a:rPr>
              <a:t>transformation</a:t>
            </a:r>
            <a:r>
              <a:rPr lang="en-US" sz="1800" dirty="0"/>
              <a:t> before applying any ranked based statistic.</a:t>
            </a:r>
          </a:p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n open-source implementation is provided for MATLAB, Python, and R</a:t>
            </a:r>
          </a:p>
          <a:p>
            <a:pPr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800" dirty="0"/>
          </a:p>
          <a:p>
            <a:pP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11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sp>
        <p:nvSpPr>
          <p:cNvPr id="6" name="Rectangle 5"/>
          <p:cNvSpPr/>
          <p:nvPr/>
        </p:nvSpPr>
        <p:spPr>
          <a:xfrm>
            <a:off x="952757" y="5178492"/>
            <a:ext cx="7192867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en-US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https://github.com/babaknaderi/MOS-transformation</a:t>
            </a:r>
            <a:endParaRPr lang="en-US" sz="1050" dirty="0">
              <a:solidFill>
                <a:srgbClr val="C00000"/>
              </a:solidFill>
              <a:latin typeface="Courier New" panose="02070309020205020404" pitchFamily="49" charset="0"/>
              <a:ea typeface="ＭＳ Ｐゴシック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7585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783" y="1822478"/>
            <a:ext cx="10748433" cy="1606522"/>
          </a:xfrm>
          <a:solidFill>
            <a:srgbClr val="C00000"/>
          </a:solidFill>
        </p:spPr>
        <p:txBody>
          <a:bodyPr anchor="ctr"/>
          <a:lstStyle/>
          <a:p>
            <a:pPr algn="ctr">
              <a:lnSpc>
                <a:spcPct val="150000"/>
              </a:lnSpc>
            </a:pPr>
            <a:r>
              <a:rPr lang="en-US" sz="3200" dirty="0">
                <a:solidFill>
                  <a:schemeClr val="bg1"/>
                </a:solidFill>
              </a:rPr>
              <a:t>  Thank you for your attention!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  Questions and comment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12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964261A-6E62-477F-B913-E1B6CFFF5E0E}"/>
              </a:ext>
            </a:extLst>
          </p:cNvPr>
          <p:cNvSpPr txBox="1"/>
          <p:nvPr/>
        </p:nvSpPr>
        <p:spPr>
          <a:xfrm>
            <a:off x="475860" y="4328729"/>
            <a:ext cx="1147904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More details:</a:t>
            </a:r>
          </a:p>
          <a:p>
            <a:r>
              <a:rPr lang="en-US" sz="1800" dirty="0"/>
              <a:t>B. Naderi and S. </a:t>
            </a:r>
            <a:r>
              <a:rPr lang="en-US" sz="1800" dirty="0" err="1"/>
              <a:t>Möller</a:t>
            </a:r>
            <a:r>
              <a:rPr lang="en-US" sz="1800" dirty="0"/>
              <a:t>, "Transformation of Mean Opinion Scores to Avoid Misleading of Ranked Based</a:t>
            </a:r>
          </a:p>
          <a:p>
            <a:r>
              <a:rPr lang="en-US" sz="1800" dirty="0"/>
              <a:t> Statistical Techniques," </a:t>
            </a:r>
            <a:r>
              <a:rPr lang="en-US" sz="1800" i="1" dirty="0"/>
              <a:t>2020 Twelfth International Conference on Quality of Multimedia Experience (</a:t>
            </a:r>
            <a:r>
              <a:rPr lang="en-US" sz="1800" i="1" dirty="0" err="1"/>
              <a:t>QoMEX</a:t>
            </a:r>
            <a:r>
              <a:rPr lang="en-US" sz="1800" i="1" dirty="0"/>
              <a:t>)</a:t>
            </a:r>
            <a:r>
              <a:rPr lang="en-US" sz="1800" dirty="0"/>
              <a:t>, </a:t>
            </a:r>
          </a:p>
          <a:p>
            <a:r>
              <a:rPr lang="en-US" sz="1800" dirty="0"/>
              <a:t>Athlone, Ireland, 2020.</a:t>
            </a:r>
            <a:endParaRPr lang="en-DE" sz="1800" dirty="0"/>
          </a:p>
        </p:txBody>
      </p:sp>
    </p:spTree>
    <p:extLst>
      <p:ext uri="{BB962C8B-B14F-4D97-AF65-F5344CB8AC3E}">
        <p14:creationId xmlns:p14="http://schemas.microsoft.com/office/powerpoint/2010/main" val="6333939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 Opinion Score (MO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0" y="2349502"/>
            <a:ext cx="6464891" cy="3641725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ean Opinion Scor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MOS) presents the average opinion scores given by participants in a subjective test on a predefined scale.</a:t>
            </a:r>
          </a:p>
          <a:p>
            <a:pPr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OS should be reported by complementary information like 95% Confidence Interval, and/or Standard deviation and number of votes</a:t>
            </a:r>
          </a:p>
          <a:p>
            <a:pPr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bsolute Category Rating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ACR) is the recommended and most popular method used in subjective tests.</a:t>
            </a:r>
          </a:p>
          <a:p>
            <a:pPr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ACR method typically we use a 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point discrete scale </a:t>
            </a:r>
            <a:r>
              <a:rPr lang="en-DE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2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4138" r="5714" b="12854"/>
          <a:stretch/>
        </p:blipFill>
        <p:spPr>
          <a:xfrm>
            <a:off x="7305923" y="2479673"/>
            <a:ext cx="4886077" cy="29496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09266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80" y="1713954"/>
            <a:ext cx="10748433" cy="384721"/>
          </a:xfrm>
        </p:spPr>
        <p:txBody>
          <a:bodyPr/>
          <a:lstStyle/>
          <a:p>
            <a:r>
              <a:rPr lang="en-US" dirty="0"/>
              <a:t>Mean Opinion Score (MOS) I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3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sp>
        <p:nvSpPr>
          <p:cNvPr id="8" name="TextBox 7"/>
          <p:cNvSpPr txBox="1"/>
          <p:nvPr/>
        </p:nvSpPr>
        <p:spPr>
          <a:xfrm>
            <a:off x="3145661" y="3429000"/>
            <a:ext cx="9955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Sample 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92797" y="3389835"/>
            <a:ext cx="10021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Sample B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3346709" y="3653214"/>
            <a:ext cx="5933199" cy="721003"/>
            <a:chOff x="3346709" y="3653214"/>
            <a:chExt cx="5933199" cy="721003"/>
          </a:xfrm>
        </p:grpSpPr>
        <p:sp>
          <p:nvSpPr>
            <p:cNvPr id="10" name="TextBox 9"/>
            <p:cNvSpPr txBox="1"/>
            <p:nvPr/>
          </p:nvSpPr>
          <p:spPr>
            <a:xfrm>
              <a:off x="3346709" y="3653214"/>
              <a:ext cx="5934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MOS</a:t>
              </a:r>
              <a:endParaRPr lang="en-US" sz="1800" b="1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397588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10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819237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4.00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570466" y="4051052"/>
              <a:ext cx="17094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Yes / No / </a:t>
              </a:r>
              <a:r>
                <a:rPr lang="en-US" sz="1400" dirty="0"/>
                <a:t>cannot</a:t>
              </a:r>
              <a:r>
                <a:rPr lang="en-US" dirty="0"/>
                <a:t> say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7471661" y="2128015"/>
            <a:ext cx="4161717" cy="584775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1600" b="1" dirty="0"/>
              <a:t>Assume 95% Confidence Interval =  0.15 </a:t>
            </a:r>
          </a:p>
          <a:p>
            <a:r>
              <a:rPr lang="en-US" sz="1600" b="1" dirty="0"/>
              <a:t>for all cases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699177" y="4536076"/>
            <a:ext cx="7600398" cy="369332"/>
            <a:chOff x="1679510" y="4020274"/>
            <a:chExt cx="7600398" cy="369332"/>
          </a:xfrm>
        </p:grpSpPr>
        <p:sp>
          <p:nvSpPr>
            <p:cNvPr id="18" name="TextBox 17"/>
            <p:cNvSpPr txBox="1"/>
            <p:nvPr/>
          </p:nvSpPr>
          <p:spPr>
            <a:xfrm>
              <a:off x="1679510" y="4020274"/>
              <a:ext cx="9284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b="1" dirty="0"/>
                <a:t>Case 2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397588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10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819237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80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570466" y="4051052"/>
              <a:ext cx="17094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Yes / No / </a:t>
              </a:r>
              <a:r>
                <a:rPr lang="en-US" sz="1400" dirty="0"/>
                <a:t>cannot</a:t>
              </a:r>
              <a:r>
                <a:rPr lang="en-US" dirty="0"/>
                <a:t> say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699177" y="5062395"/>
            <a:ext cx="7600398" cy="369332"/>
            <a:chOff x="1679510" y="4020274"/>
            <a:chExt cx="7600398" cy="369332"/>
          </a:xfrm>
        </p:grpSpPr>
        <p:sp>
          <p:nvSpPr>
            <p:cNvPr id="23" name="TextBox 22"/>
            <p:cNvSpPr txBox="1"/>
            <p:nvPr/>
          </p:nvSpPr>
          <p:spPr>
            <a:xfrm>
              <a:off x="1679510" y="4020274"/>
              <a:ext cx="9284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b="1" dirty="0"/>
                <a:t>Case 3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397588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10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819237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20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570466" y="4051052"/>
              <a:ext cx="17094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Yes / No / </a:t>
              </a:r>
              <a:r>
                <a:rPr lang="en-US" sz="1400" dirty="0"/>
                <a:t>cannot</a:t>
              </a:r>
              <a:r>
                <a:rPr lang="en-US" dirty="0"/>
                <a:t> say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699177" y="5643152"/>
            <a:ext cx="7600398" cy="369332"/>
            <a:chOff x="1679510" y="4020274"/>
            <a:chExt cx="7600398" cy="369332"/>
          </a:xfrm>
        </p:grpSpPr>
        <p:sp>
          <p:nvSpPr>
            <p:cNvPr id="28" name="TextBox 27"/>
            <p:cNvSpPr txBox="1"/>
            <p:nvPr/>
          </p:nvSpPr>
          <p:spPr>
            <a:xfrm>
              <a:off x="1679510" y="4020274"/>
              <a:ext cx="92845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b="1" dirty="0"/>
                <a:t>Case 4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397588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10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819237" y="4035663"/>
              <a:ext cx="7436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.11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570466" y="4051052"/>
              <a:ext cx="170944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Yes / No / </a:t>
              </a:r>
              <a:r>
                <a:rPr lang="en-US" sz="1400" dirty="0"/>
                <a:t>cannot</a:t>
              </a:r>
              <a:r>
                <a:rPr lang="en-US" dirty="0"/>
                <a:t> say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552099" y="4046904"/>
            <a:ext cx="817754" cy="1967466"/>
            <a:chOff x="7552099" y="4046904"/>
            <a:chExt cx="817754" cy="1967466"/>
          </a:xfrm>
        </p:grpSpPr>
        <p:sp>
          <p:nvSpPr>
            <p:cNvPr id="32" name="Oval 31"/>
            <p:cNvSpPr/>
            <p:nvPr/>
          </p:nvSpPr>
          <p:spPr bwMode="auto">
            <a:xfrm>
              <a:off x="7893698" y="4046904"/>
              <a:ext cx="457200" cy="369332"/>
            </a:xfrm>
            <a:prstGeom prst="ellipse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 bwMode="auto">
            <a:xfrm>
              <a:off x="7912653" y="4526132"/>
              <a:ext cx="457200" cy="369332"/>
            </a:xfrm>
            <a:prstGeom prst="ellipse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" name="Oval 33"/>
            <p:cNvSpPr/>
            <p:nvPr/>
          </p:nvSpPr>
          <p:spPr bwMode="auto">
            <a:xfrm>
              <a:off x="7552099" y="5645038"/>
              <a:ext cx="457200" cy="369332"/>
            </a:xfrm>
            <a:prstGeom prst="ellipse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 bwMode="auto">
            <a:xfrm>
              <a:off x="7560780" y="5047820"/>
              <a:ext cx="457200" cy="369332"/>
            </a:xfrm>
            <a:prstGeom prst="ellipse">
              <a:avLst/>
            </a:prstGeom>
            <a:noFill/>
            <a:ln w="571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C4FF5402-AD92-4542-9F04-541924D8C4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0257" y="2797043"/>
            <a:ext cx="9906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6CFB83E1-73EA-46A6-B1F5-F62039975B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401" y="2787686"/>
            <a:ext cx="96043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Content Placeholder 38">
            <a:extLst>
              <a:ext uri="{FF2B5EF4-FFF2-40B4-BE49-F238E27FC236}">
                <a16:creationId xmlns:a16="http://schemas.microsoft.com/office/drawing/2014/main" id="{699CD60F-5922-4DBF-88D8-4D0357E408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680" y="2349503"/>
            <a:ext cx="10748433" cy="436180"/>
          </a:xfrm>
        </p:spPr>
        <p:txBody>
          <a:bodyPr/>
          <a:lstStyle/>
          <a:p>
            <a:pPr marL="0" lvl="0" indent="0">
              <a:lnSpc>
                <a:spcPct val="100000"/>
              </a:lnSpc>
            </a:pPr>
            <a:r>
              <a:rPr lang="en-US" sz="1800" b="1" dirty="0">
                <a:latin typeface="Arial" panose="020B0604020202020204" pitchFamily="34" charset="0"/>
              </a:rPr>
              <a:t>Do they have a same quality!?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2B7D9FF-BA08-4EB2-BB59-32206B3069F5}"/>
              </a:ext>
            </a:extLst>
          </p:cNvPr>
          <p:cNvSpPr txBox="1"/>
          <p:nvPr/>
        </p:nvSpPr>
        <p:spPr>
          <a:xfrm>
            <a:off x="5838904" y="3619551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MOS</a:t>
            </a:r>
            <a:endParaRPr lang="en-US" sz="1800" b="1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5F8D918-B6A8-46A4-9FC3-D3AFDF778142}"/>
              </a:ext>
            </a:extLst>
          </p:cNvPr>
          <p:cNvSpPr txBox="1"/>
          <p:nvPr/>
        </p:nvSpPr>
        <p:spPr>
          <a:xfrm>
            <a:off x="1699176" y="4017966"/>
            <a:ext cx="9284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Case 1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872F2FC6-45B8-4E74-B052-63C30864C2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8910" y="5085000"/>
            <a:ext cx="248787" cy="24878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7E550192-51AE-44E8-9ECB-BF5C167BC8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8909" y="5637800"/>
            <a:ext cx="248787" cy="248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85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n Opinion Score (MOS) II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600" dirty="0"/>
              <a:t>MOS is a sensitive metric: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minor change in one vote influences the resulting score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0.1 MOS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differnce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90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f subjects vote as before, bu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hanged their vote only by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 poin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ACR sca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0.01 MOS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differnce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99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of subjects vote as before, but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changed their vote only by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 poin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ACR scale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4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9687165"/>
              </p:ext>
            </p:extLst>
          </p:nvPr>
        </p:nvGraphicFramePr>
        <p:xfrm>
          <a:off x="2018031" y="3114676"/>
          <a:ext cx="5906775" cy="819578"/>
        </p:xfrm>
        <a:graphic>
          <a:graphicData uri="http://schemas.openxmlformats.org/drawingml/2006/table">
            <a:tbl>
              <a:tblPr/>
              <a:tblGrid>
                <a:gridCol w="1289049">
                  <a:extLst>
                    <a:ext uri="{9D8B030D-6E8A-4147-A177-3AD203B41FA5}">
                      <a16:colId xmlns:a16="http://schemas.microsoft.com/office/drawing/2014/main" val="3649599692"/>
                    </a:ext>
                  </a:extLst>
                </a:gridCol>
                <a:gridCol w="390379">
                  <a:extLst>
                    <a:ext uri="{9D8B030D-6E8A-4147-A177-3AD203B41FA5}">
                      <a16:colId xmlns:a16="http://schemas.microsoft.com/office/drawing/2014/main" val="1776408221"/>
                    </a:ext>
                  </a:extLst>
                </a:gridCol>
                <a:gridCol w="397533">
                  <a:extLst>
                    <a:ext uri="{9D8B030D-6E8A-4147-A177-3AD203B41FA5}">
                      <a16:colId xmlns:a16="http://schemas.microsoft.com/office/drawing/2014/main" val="1142342924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213929357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720823234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1132888038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3887904465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3136307945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514828311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1269554683"/>
                    </a:ext>
                  </a:extLst>
                </a:gridCol>
                <a:gridCol w="396872">
                  <a:extLst>
                    <a:ext uri="{9D8B030D-6E8A-4147-A177-3AD203B41FA5}">
                      <a16:colId xmlns:a16="http://schemas.microsoft.com/office/drawing/2014/main" val="1328843556"/>
                    </a:ext>
                  </a:extLst>
                </a:gridCol>
                <a:gridCol w="46302">
                  <a:extLst>
                    <a:ext uri="{9D8B030D-6E8A-4147-A177-3AD203B41FA5}">
                      <a16:colId xmlns:a16="http://schemas.microsoft.com/office/drawing/2014/main" val="3419944874"/>
                    </a:ext>
                  </a:extLst>
                </a:gridCol>
                <a:gridCol w="608536">
                  <a:extLst>
                    <a:ext uri="{9D8B030D-6E8A-4147-A177-3AD203B41FA5}">
                      <a16:colId xmlns:a16="http://schemas.microsoft.com/office/drawing/2014/main" val="2934839611"/>
                    </a:ext>
                  </a:extLst>
                </a:gridCol>
              </a:tblGrid>
              <a:tr h="316658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3776907"/>
                  </a:ext>
                </a:extLst>
              </a:tr>
              <a:tr h="21219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ample A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424201"/>
                  </a:ext>
                </a:extLst>
              </a:tr>
              <a:tr h="21219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ample B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DE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3315167"/>
                  </a:ext>
                </a:extLst>
              </a:tr>
            </a:tbl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3286427" y="4075288"/>
            <a:ext cx="4309192" cy="633473"/>
            <a:chOff x="3286427" y="4075288"/>
            <a:chExt cx="4309192" cy="633473"/>
          </a:xfrm>
        </p:grpSpPr>
        <p:grpSp>
          <p:nvGrpSpPr>
            <p:cNvPr id="8" name="Group 7"/>
            <p:cNvGrpSpPr/>
            <p:nvPr/>
          </p:nvGrpSpPr>
          <p:grpSpPr>
            <a:xfrm>
              <a:off x="3286427" y="4075288"/>
              <a:ext cx="4309192" cy="633473"/>
              <a:chOff x="5092591" y="23993367"/>
              <a:chExt cx="7664533" cy="1888484"/>
            </a:xfrm>
          </p:grpSpPr>
          <p:sp>
            <p:nvSpPr>
              <p:cNvPr id="9" name="Right Brace 8"/>
              <p:cNvSpPr/>
              <p:nvPr/>
            </p:nvSpPr>
            <p:spPr>
              <a:xfrm rot="16200000" flipH="1">
                <a:off x="8111700" y="20974259"/>
                <a:ext cx="390636" cy="6428853"/>
              </a:xfrm>
              <a:prstGeom prst="rightBrace">
                <a:avLst>
                  <a:gd name="adj1" fmla="val 124333"/>
                  <a:gd name="adj2" fmla="val 46313"/>
                </a:avLst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" name="Straight Arrow Connector 9"/>
              <p:cNvCxnSpPr/>
              <p:nvPr/>
            </p:nvCxnSpPr>
            <p:spPr>
              <a:xfrm flipV="1">
                <a:off x="11978640" y="23993367"/>
                <a:ext cx="0" cy="41227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TextBox 10"/>
              <p:cNvSpPr txBox="1"/>
              <p:nvPr/>
            </p:nvSpPr>
            <p:spPr>
              <a:xfrm>
                <a:off x="11316708" y="24322049"/>
                <a:ext cx="1440416" cy="15598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b="1" dirty="0"/>
                  <a:t>Minor </a:t>
                </a:r>
                <a:br>
                  <a:rPr lang="de-DE" sz="1400" b="1" dirty="0"/>
                </a:br>
                <a:r>
                  <a:rPr lang="de-DE" sz="1400" b="1" dirty="0"/>
                  <a:t>change</a:t>
                </a:r>
                <a:endParaRPr lang="en-US" sz="1400" b="1" dirty="0"/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4334064" y="4347358"/>
              <a:ext cx="12747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All equal ratings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/>
              <p:cNvSpPr txBox="1"/>
              <p:nvPr/>
            </p:nvSpPr>
            <p:spPr>
              <a:xfrm>
                <a:off x="8179002" y="3465513"/>
                <a:ext cx="1373518" cy="338554"/>
              </a:xfrm>
              <a:prstGeom prst="rect">
                <a:avLst/>
              </a:prstGeom>
              <a:solidFill>
                <a:srgbClr val="FFC000"/>
              </a:solidFill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∆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𝑂𝑆</m:t>
                      </m:r>
                      <m:r>
                        <a:rPr lang="en-US" sz="16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1</m:t>
                      </m:r>
                    </m:oMath>
                  </m:oMathPara>
                </a14:m>
                <a:endParaRPr lang="en-US" sz="1600" dirty="0"/>
              </a:p>
            </p:txBody>
          </p:sp>
        </mc:Choice>
        <mc:Fallback xmlns="">
          <p:sp>
            <p:nvSpPr>
              <p:cNvPr id="14" name="TextBox 1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79002" y="3465513"/>
                <a:ext cx="1373518" cy="3385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TextBox 17"/>
          <p:cNvSpPr txBox="1"/>
          <p:nvPr/>
        </p:nvSpPr>
        <p:spPr>
          <a:xfrm>
            <a:off x="2527688" y="5704882"/>
            <a:ext cx="2608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/>
              <a:t>Does it really matter!?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843280" y="5110480"/>
            <a:ext cx="2052320" cy="779068"/>
            <a:chOff x="843280" y="5110480"/>
            <a:chExt cx="2052320" cy="779068"/>
          </a:xfrm>
        </p:grpSpPr>
        <p:sp>
          <p:nvSpPr>
            <p:cNvPr id="15" name="Rounded Rectangle 14"/>
            <p:cNvSpPr/>
            <p:nvPr/>
          </p:nvSpPr>
          <p:spPr bwMode="auto">
            <a:xfrm>
              <a:off x="843280" y="5110480"/>
              <a:ext cx="2052320" cy="345440"/>
            </a:xfrm>
            <a:prstGeom prst="roundRect">
              <a:avLst/>
            </a:prstGeom>
            <a:noFill/>
            <a:ln w="381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cxnSp>
          <p:nvCxnSpPr>
            <p:cNvPr id="20" name="Elbow Connector 19"/>
            <p:cNvCxnSpPr>
              <a:stCxn id="15" idx="2"/>
              <a:endCxn id="18" idx="1"/>
            </p:cNvCxnSpPr>
            <p:nvPr/>
          </p:nvCxnSpPr>
          <p:spPr bwMode="auto">
            <a:xfrm rot="16200000" flipH="1">
              <a:off x="1981750" y="5343610"/>
              <a:ext cx="433628" cy="658248"/>
            </a:xfrm>
            <a:prstGeom prst="bentConnector2">
              <a:avLst/>
            </a:prstGeom>
            <a:ln>
              <a:solidFill>
                <a:srgbClr val="FFC000"/>
              </a:solidFill>
              <a:headEnd type="none" w="med" len="med"/>
              <a:tailEnd type="triangle"/>
            </a:ln>
            <a:extLst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31272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80" y="1713954"/>
            <a:ext cx="10748433" cy="384721"/>
          </a:xfrm>
        </p:spPr>
        <p:txBody>
          <a:bodyPr/>
          <a:lstStyle/>
          <a:p>
            <a:r>
              <a:rPr lang="en-US" dirty="0"/>
              <a:t>Ranked based Statistics </a:t>
            </a:r>
            <a:r>
              <a:rPr lang="en-DE" dirty="0"/>
              <a:t>–</a:t>
            </a:r>
            <a:r>
              <a:rPr lang="en-US" dirty="0"/>
              <a:t> Spearman’s Rank correlation (SPCC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5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2131548"/>
              </p:ext>
            </p:extLst>
          </p:nvPr>
        </p:nvGraphicFramePr>
        <p:xfrm>
          <a:off x="719669" y="2549845"/>
          <a:ext cx="5067300" cy="2861936"/>
        </p:xfrm>
        <a:graphic>
          <a:graphicData uri="http://schemas.openxmlformats.org/drawingml/2006/table">
            <a:tbl>
              <a:tblPr/>
              <a:tblGrid>
                <a:gridCol w="1634613">
                  <a:extLst>
                    <a:ext uri="{9D8B030D-6E8A-4147-A177-3AD203B41FA5}">
                      <a16:colId xmlns:a16="http://schemas.microsoft.com/office/drawing/2014/main" val="1906913134"/>
                    </a:ext>
                  </a:extLst>
                </a:gridCol>
                <a:gridCol w="1132341">
                  <a:extLst>
                    <a:ext uri="{9D8B030D-6E8A-4147-A177-3AD203B41FA5}">
                      <a16:colId xmlns:a16="http://schemas.microsoft.com/office/drawing/2014/main" val="3635462206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1893663571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3598007998"/>
                    </a:ext>
                  </a:extLst>
                </a:gridCol>
              </a:tblGrid>
              <a:tr h="33135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290773"/>
                  </a:ext>
                </a:extLst>
              </a:tr>
              <a:tr h="4192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273530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8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7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7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59040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37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0205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48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7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7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0851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5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5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382399"/>
                  </a:ext>
                </a:extLst>
              </a:tr>
              <a:tr h="419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95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826692"/>
                  </a:ext>
                </a:extLst>
              </a:tr>
            </a:tbl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5697180" y="3980813"/>
            <a:ext cx="3290771" cy="1192288"/>
            <a:chOff x="6298327" y="3754656"/>
            <a:chExt cx="3290771" cy="1192288"/>
          </a:xfrm>
        </p:grpSpPr>
        <p:grpSp>
          <p:nvGrpSpPr>
            <p:cNvPr id="7" name="Group 6"/>
            <p:cNvGrpSpPr/>
            <p:nvPr/>
          </p:nvGrpSpPr>
          <p:grpSpPr>
            <a:xfrm>
              <a:off x="6298327" y="3754656"/>
              <a:ext cx="1613196" cy="1192288"/>
              <a:chOff x="23232803" y="10135353"/>
              <a:chExt cx="1613196" cy="1192288"/>
            </a:xfrm>
          </p:grpSpPr>
          <p:cxnSp>
            <p:nvCxnSpPr>
              <p:cNvPr id="8" name="Elbow Connector 7"/>
              <p:cNvCxnSpPr>
                <a:cxnSpLocks/>
              </p:cNvCxnSpPr>
              <p:nvPr/>
            </p:nvCxnSpPr>
            <p:spPr>
              <a:xfrm>
                <a:off x="23232803" y="10135353"/>
                <a:ext cx="1613196" cy="741118"/>
              </a:xfrm>
              <a:prstGeom prst="bentConnector3">
                <a:avLst/>
              </a:prstGeom>
              <a:ln w="38100">
                <a:solidFill>
                  <a:srgbClr val="0070C0"/>
                </a:solidFill>
                <a:headEnd type="triangle"/>
                <a:tailEnd type="non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" name="Elbow Connector 8"/>
              <p:cNvCxnSpPr>
                <a:cxnSpLocks/>
              </p:cNvCxnSpPr>
              <p:nvPr/>
            </p:nvCxnSpPr>
            <p:spPr>
              <a:xfrm flipV="1">
                <a:off x="23246525" y="10876472"/>
                <a:ext cx="1585752" cy="451169"/>
              </a:xfrm>
              <a:prstGeom prst="bentConnector3">
                <a:avLst/>
              </a:prstGeom>
              <a:ln w="38100">
                <a:solidFill>
                  <a:srgbClr val="0070C0"/>
                </a:solidFill>
                <a:headEnd type="triangle"/>
                <a:tailEnd type="none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10" name="TextBox 9"/>
            <p:cNvSpPr txBox="1"/>
            <p:nvPr/>
          </p:nvSpPr>
          <p:spPr>
            <a:xfrm>
              <a:off x="7925245" y="4176432"/>
              <a:ext cx="166385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3200" dirty="0">
                  <a:solidFill>
                    <a:srgbClr val="C00000"/>
                  </a:solidFill>
                </a:rPr>
                <a:t>tied rank</a:t>
              </a:r>
              <a:endParaRPr lang="en-US" sz="3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11" name="Rectangle 10"/>
          <p:cNvSpPr/>
          <p:nvPr/>
        </p:nvSpPr>
        <p:spPr bwMode="auto">
          <a:xfrm>
            <a:off x="4644511" y="2506662"/>
            <a:ext cx="1360779" cy="308645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62100"/>
              </p:ext>
            </p:extLst>
          </p:nvPr>
        </p:nvGraphicFramePr>
        <p:xfrm>
          <a:off x="6923368" y="2549845"/>
          <a:ext cx="5067300" cy="2861936"/>
        </p:xfrm>
        <a:graphic>
          <a:graphicData uri="http://schemas.openxmlformats.org/drawingml/2006/table">
            <a:tbl>
              <a:tblPr/>
              <a:tblGrid>
                <a:gridCol w="1634613">
                  <a:extLst>
                    <a:ext uri="{9D8B030D-6E8A-4147-A177-3AD203B41FA5}">
                      <a16:colId xmlns:a16="http://schemas.microsoft.com/office/drawing/2014/main" val="1906913134"/>
                    </a:ext>
                  </a:extLst>
                </a:gridCol>
                <a:gridCol w="1132341">
                  <a:extLst>
                    <a:ext uri="{9D8B030D-6E8A-4147-A177-3AD203B41FA5}">
                      <a16:colId xmlns:a16="http://schemas.microsoft.com/office/drawing/2014/main" val="3635462206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1893663571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3598007998"/>
                    </a:ext>
                  </a:extLst>
                </a:gridCol>
              </a:tblGrid>
              <a:tr h="33135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nk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290773"/>
                  </a:ext>
                </a:extLst>
              </a:tr>
              <a:tr h="4192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273530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59040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DE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</a:t>
                      </a:r>
                      <a:endParaRPr lang="en-DE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0205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0851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382399"/>
                  </a:ext>
                </a:extLst>
              </a:tr>
              <a:tr h="419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DE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826692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253319" y="5626460"/>
            <a:ext cx="61815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/>
              <a:t>SRCC (A, B) = 0.7       , SRCC (A, C) = 0.56</a:t>
            </a:r>
            <a:endParaRPr lang="en-US" sz="2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5BD993E-C18B-4D22-B740-6863AAAEBB8F}"/>
              </a:ext>
            </a:extLst>
          </p:cNvPr>
          <p:cNvSpPr txBox="1"/>
          <p:nvPr/>
        </p:nvSpPr>
        <p:spPr>
          <a:xfrm>
            <a:off x="5136094" y="2397957"/>
            <a:ext cx="51019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In Test B, </a:t>
            </a:r>
            <a:r>
              <a:rPr lang="de-DE" sz="2000" dirty="0" err="1"/>
              <a:t>difference</a:t>
            </a:r>
            <a:r>
              <a:rPr lang="de-DE" sz="2000" dirty="0"/>
              <a:t> </a:t>
            </a:r>
            <a:r>
              <a:rPr lang="de-DE" sz="2000" dirty="0" err="1"/>
              <a:t>between</a:t>
            </a:r>
            <a:r>
              <a:rPr lang="de-DE" sz="2000" dirty="0"/>
              <a:t> C2 and C5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</a:p>
          <a:p>
            <a:r>
              <a:rPr lang="de-DE" sz="2000" dirty="0"/>
              <a:t>|4.7059 - 4.7| = </a:t>
            </a:r>
            <a:r>
              <a:rPr lang="de-DE" sz="2000" b="1" dirty="0">
                <a:solidFill>
                  <a:schemeClr val="tx2"/>
                </a:solidFill>
              </a:rPr>
              <a:t>0.0059</a:t>
            </a:r>
            <a:endParaRPr lang="en-DE" sz="2000" b="1" dirty="0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12725E-4290-4236-AA0A-5AD8DC114BA8}"/>
              </a:ext>
            </a:extLst>
          </p:cNvPr>
          <p:cNvSpPr/>
          <p:nvPr/>
        </p:nvSpPr>
        <p:spPr bwMode="auto">
          <a:xfrm>
            <a:off x="3480318" y="4987364"/>
            <a:ext cx="2334095" cy="467600"/>
          </a:xfrm>
          <a:prstGeom prst="rect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9287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/>
      <p:bldP spid="17" grpId="0"/>
      <p:bldP spid="17" grpId="1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80" y="1713954"/>
            <a:ext cx="10748433" cy="384721"/>
          </a:xfrm>
        </p:spPr>
        <p:txBody>
          <a:bodyPr/>
          <a:lstStyle/>
          <a:p>
            <a:r>
              <a:rPr lang="en-US" dirty="0"/>
              <a:t>Ranked based Statistics </a:t>
            </a:r>
            <a:r>
              <a:rPr lang="en-DE" dirty="0"/>
              <a:t>–</a:t>
            </a:r>
            <a:r>
              <a:rPr lang="en-US" dirty="0"/>
              <a:t> Spearman’s Rank correlation (SPCC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6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63042"/>
              </p:ext>
            </p:extLst>
          </p:nvPr>
        </p:nvGraphicFramePr>
        <p:xfrm>
          <a:off x="719669" y="2549845"/>
          <a:ext cx="5067300" cy="2861936"/>
        </p:xfrm>
        <a:graphic>
          <a:graphicData uri="http://schemas.openxmlformats.org/drawingml/2006/table">
            <a:tbl>
              <a:tblPr/>
              <a:tblGrid>
                <a:gridCol w="1634613">
                  <a:extLst>
                    <a:ext uri="{9D8B030D-6E8A-4147-A177-3AD203B41FA5}">
                      <a16:colId xmlns:a16="http://schemas.microsoft.com/office/drawing/2014/main" val="1906913134"/>
                    </a:ext>
                  </a:extLst>
                </a:gridCol>
                <a:gridCol w="1132341">
                  <a:extLst>
                    <a:ext uri="{9D8B030D-6E8A-4147-A177-3AD203B41FA5}">
                      <a16:colId xmlns:a16="http://schemas.microsoft.com/office/drawing/2014/main" val="3635462206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1893663571"/>
                    </a:ext>
                  </a:extLst>
                </a:gridCol>
                <a:gridCol w="1150173">
                  <a:extLst>
                    <a:ext uri="{9D8B030D-6E8A-4147-A177-3AD203B41FA5}">
                      <a16:colId xmlns:a16="http://schemas.microsoft.com/office/drawing/2014/main" val="3598007998"/>
                    </a:ext>
                  </a:extLst>
                </a:gridCol>
              </a:tblGrid>
              <a:tr h="33135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9290773"/>
                  </a:ext>
                </a:extLst>
              </a:tr>
              <a:tr h="41926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273530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28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7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57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59040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37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202053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848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7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57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0851"/>
                  </a:ext>
                </a:extLst>
              </a:tr>
              <a:tr h="412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5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853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7382399"/>
                  </a:ext>
                </a:extLst>
              </a:tr>
              <a:tr h="41926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95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DE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705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826692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253319" y="5626460"/>
            <a:ext cx="626645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/>
              <a:t>SRCC (A, B) = 0.7        , SRCC (A, C) = 0.56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 bwMode="auto">
          <a:xfrm>
            <a:off x="10831221" y="2506663"/>
            <a:ext cx="1360779" cy="290511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27214" y="5009626"/>
            <a:ext cx="1064983" cy="400110"/>
          </a:xfrm>
          <a:prstGeom prst="rect">
            <a:avLst/>
          </a:prstGeom>
          <a:solidFill>
            <a:srgbClr val="F8D5AD"/>
          </a:solidFill>
        </p:spPr>
        <p:txBody>
          <a:bodyPr wrap="square" rtlCol="0">
            <a:spAutoFit/>
          </a:bodyPr>
          <a:lstStyle/>
          <a:p>
            <a:r>
              <a:rPr lang="en-US" sz="2000" dirty="0"/>
              <a:t>4.7</a:t>
            </a:r>
            <a:r>
              <a:rPr lang="en-US" sz="2000" dirty="0">
                <a:solidFill>
                  <a:srgbClr val="FF0000"/>
                </a:solidFill>
              </a:rPr>
              <a:t>1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5335260" y="5855387"/>
            <a:ext cx="528320" cy="1905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x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908244" y="5609256"/>
            <a:ext cx="6126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/>
              <a:t>0.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266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arman’s Rank correlation (SPCC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1" y="2349502"/>
            <a:ext cx="4908960" cy="3641725"/>
          </a:xfrm>
        </p:spPr>
        <p:txBody>
          <a:bodyPr/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aximu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ifference in coefficient of Spearman’s rank correlation that can result by neglecting </a:t>
            </a:r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tied ranks can be calculated with the following formula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7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/>
              <p:cNvSpPr txBox="1"/>
              <p:nvPr/>
            </p:nvSpPr>
            <p:spPr>
              <a:xfrm>
                <a:off x="967575" y="4310379"/>
                <a:ext cx="4661066" cy="989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DE" sz="28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∆</m:t>
                      </m:r>
                      <m:r>
                        <a:rPr lang="en-DE" sz="2800" i="1">
                          <a:latin typeface="Cambria Math" panose="02040503050406030204" pitchFamily="18" charset="0"/>
                          <a:ea typeface="Cambria Math" panose="02040503050406030204" pitchFamily="18" charset="0"/>
                          <a:cs typeface="Arial" panose="020B0604020202020204" pitchFamily="34" charset="0"/>
                        </a:rPr>
                        <m:t>𝜌</m:t>
                      </m:r>
                      <m:r>
                        <a:rPr lang="en-US" sz="2800" i="1">
                          <a:latin typeface="Cambria Math" panose="02040503050406030204" pitchFamily="18" charset="0"/>
                          <a:cs typeface="Arial" panose="020B0604020202020204" pitchFamily="34" charset="0"/>
                        </a:rPr>
                        <m:t>=</m:t>
                      </m:r>
                      <m:f>
                        <m:fPr>
                          <m:ctrlPr>
                            <a:rPr lang="en-US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</m:ctrlPr>
                        </m:fPr>
                        <m:num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6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𝑛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𝑚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0.5)</m:t>
                          </m:r>
                        </m:num>
                        <m:den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𝑛</m:t>
                          </m:r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(</m:t>
                          </m:r>
                          <m:sSup>
                            <m:sSupPr>
                              <m:ctrlPr>
                                <a:rPr lang="en-DE" sz="28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</m:ctrlPr>
                            </m:sSupPr>
                            <m:e>
                              <m:r>
                                <a:rPr lang="de-DE" sz="28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𝑛</m:t>
                              </m:r>
                            </m:e>
                            <m:sup>
                              <m:r>
                                <a:rPr lang="de-DE" sz="2800" i="1">
                                  <a:latin typeface="Cambria Math" panose="02040503050406030204" pitchFamily="18" charset="0"/>
                                  <a:cs typeface="Arial" panose="020B0604020202020204" pitchFamily="34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de-DE" sz="2800" i="1">
                              <a:latin typeface="Cambria Math" panose="02040503050406030204" pitchFamily="18" charset="0"/>
                              <a:cs typeface="Arial" panose="020B0604020202020204" pitchFamily="34" charset="0"/>
                            </a:rPr>
                            <m:t>−1)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7575" y="4310379"/>
                <a:ext cx="4661066" cy="98943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496" y="1766560"/>
            <a:ext cx="5630744" cy="422466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035698" y="5852727"/>
            <a:ext cx="14574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: number of items</a:t>
            </a:r>
          </a:p>
        </p:txBody>
      </p:sp>
    </p:spTree>
    <p:extLst>
      <p:ext uri="{BB962C8B-B14F-4D97-AF65-F5344CB8AC3E}">
        <p14:creationId xmlns:p14="http://schemas.microsoft.com/office/powerpoint/2010/main" val="6425412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plausible “very close” MOS values ar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1" y="2349502"/>
            <a:ext cx="5610000" cy="3641725"/>
          </a:xfrm>
        </p:spPr>
        <p:txBody>
          <a:bodyPr/>
          <a:lstStyle/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We examined </a:t>
            </a:r>
            <a:r>
              <a:rPr lang="en-US" sz="1600" b="1" dirty="0"/>
              <a:t>18 datasets </a:t>
            </a:r>
            <a:r>
              <a:rPr lang="en-US" sz="1600" dirty="0"/>
              <a:t>from domain of speech quality assessment, all subjective test conducted in laboratory based on the ITU-T Rec. P.800.</a:t>
            </a:r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/>
          </a:p>
          <a:p>
            <a:pPr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In </a:t>
            </a:r>
            <a:r>
              <a:rPr lang="en-US" sz="1600" b="1" dirty="0"/>
              <a:t>86% of cases</a:t>
            </a:r>
            <a:r>
              <a:rPr lang="en-US" sz="1600" dirty="0"/>
              <a:t>, the absolute difference between two consecutive MOS values in a ranked order is smaller than the 95% CI of one of the conditio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8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591" y="2029112"/>
            <a:ext cx="5280808" cy="39621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FBC208-78C2-4A93-833E-53DD84F8AE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537" y="5206634"/>
            <a:ext cx="557042" cy="5570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C9A5591-7EE5-4CAA-9B54-F0F19150086A}"/>
              </a:ext>
            </a:extLst>
          </p:cNvPr>
          <p:cNvSpPr txBox="1"/>
          <p:nvPr/>
        </p:nvSpPr>
        <p:spPr>
          <a:xfrm>
            <a:off x="1027579" y="5227881"/>
            <a:ext cx="4898571" cy="1077218"/>
          </a:xfrm>
          <a:prstGeom prst="rect">
            <a:avLst/>
          </a:prstGeom>
          <a:solidFill>
            <a:srgbClr val="F8D5AD"/>
          </a:solidFill>
        </p:spPr>
        <p:txBody>
          <a:bodyPr wrap="square" rtlCol="0">
            <a:spAutoFit/>
          </a:bodyPr>
          <a:lstStyle/>
          <a:p>
            <a:r>
              <a:rPr lang="de-DE" sz="1600" b="1" dirty="0"/>
              <a:t>95% CI: </a:t>
            </a:r>
            <a:r>
              <a:rPr lang="de-DE" sz="1600" dirty="0" err="1"/>
              <a:t>If</a:t>
            </a:r>
            <a:r>
              <a:rPr lang="de-DE" sz="1600" dirty="0"/>
              <a:t> </a:t>
            </a:r>
            <a:r>
              <a:rPr lang="de-DE" sz="1600" dirty="0" err="1"/>
              <a:t>we</a:t>
            </a:r>
            <a:r>
              <a:rPr lang="de-DE" sz="1600" dirty="0"/>
              <a:t> sample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population</a:t>
            </a:r>
            <a:r>
              <a:rPr lang="de-DE" sz="1600" dirty="0"/>
              <a:t> 100 </a:t>
            </a:r>
            <a:r>
              <a:rPr lang="de-DE" sz="1600" dirty="0" err="1"/>
              <a:t>times</a:t>
            </a:r>
            <a:r>
              <a:rPr lang="de-DE" sz="1600" dirty="0"/>
              <a:t>, and </a:t>
            </a:r>
            <a:r>
              <a:rPr lang="de-DE" sz="1600" dirty="0" err="1"/>
              <a:t>each</a:t>
            </a:r>
            <a:r>
              <a:rPr lang="de-DE" sz="1600" dirty="0"/>
              <a:t> time </a:t>
            </a:r>
            <a:r>
              <a:rPr lang="de-DE" sz="1600" dirty="0" err="1"/>
              <a:t>calculat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MOS </a:t>
            </a:r>
            <a:r>
              <a:rPr lang="de-DE" sz="1600" dirty="0" err="1"/>
              <a:t>value</a:t>
            </a:r>
            <a:r>
              <a:rPr lang="de-DE" sz="1600" dirty="0"/>
              <a:t>, in at least 95 </a:t>
            </a:r>
            <a:r>
              <a:rPr lang="de-DE" sz="1600" dirty="0" err="1"/>
              <a:t>cases</a:t>
            </a:r>
            <a:r>
              <a:rPr lang="de-DE" sz="1600" dirty="0"/>
              <a:t>, </a:t>
            </a:r>
            <a:r>
              <a:rPr lang="de-DE" sz="1600" dirty="0" err="1"/>
              <a:t>the</a:t>
            </a:r>
            <a:r>
              <a:rPr lang="de-DE" sz="1600" dirty="0"/>
              <a:t> MOS </a:t>
            </a:r>
            <a:r>
              <a:rPr lang="de-DE" sz="1600" dirty="0" err="1"/>
              <a:t>value</a:t>
            </a:r>
            <a:r>
              <a:rPr lang="de-DE" sz="1600" dirty="0"/>
              <a:t> will </a:t>
            </a:r>
            <a:r>
              <a:rPr lang="de-DE" sz="1600" dirty="0" err="1"/>
              <a:t>be</a:t>
            </a:r>
            <a:r>
              <a:rPr lang="de-DE" sz="1600" dirty="0"/>
              <a:t> in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rang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current</a:t>
            </a:r>
            <a:r>
              <a:rPr lang="de-DE" sz="1600" dirty="0"/>
              <a:t> 95%CI.</a:t>
            </a:r>
            <a:endParaRPr lang="en-DE" sz="1600" dirty="0"/>
          </a:p>
        </p:txBody>
      </p:sp>
    </p:spTree>
    <p:extLst>
      <p:ext uri="{BB962C8B-B14F-4D97-AF65-F5344CB8AC3E}">
        <p14:creationId xmlns:p14="http://schemas.microsoft.com/office/powerpoint/2010/main" val="3618025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80" y="1355395"/>
            <a:ext cx="10748433" cy="743280"/>
          </a:xfrm>
        </p:spPr>
        <p:txBody>
          <a:bodyPr/>
          <a:lstStyle/>
          <a:p>
            <a:r>
              <a:rPr lang="en-US" dirty="0"/>
              <a:t>Now</a:t>
            </a:r>
            <a:r>
              <a:rPr lang="en-DE" dirty="0"/>
              <a:t>…</a:t>
            </a:r>
            <a:r>
              <a:rPr lang="en-US" dirty="0"/>
              <a:t> </a:t>
            </a:r>
            <a:r>
              <a:rPr lang="en-US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OS Transformation – redefine equal MOS values</a:t>
            </a:r>
            <a:br>
              <a:rPr lang="en-US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18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Wingdings" panose="05000000000000000000" pitchFamily="2" charset="2"/>
              </a:rPr>
              <a:t>Calculate rank by considering 95%CI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0" y="2349502"/>
            <a:ext cx="5979699" cy="3641725"/>
          </a:xfrm>
        </p:spPr>
        <p:txBody>
          <a:bodyPr/>
          <a:lstStyle/>
          <a:p>
            <a:pPr marL="0" indent="0" defTabSz="2952475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OS Transformation rules are:</a:t>
            </a:r>
          </a:p>
          <a:p>
            <a:pPr defTabSz="2952475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UcPeriod"/>
              <a:defRPr/>
            </a:pP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wo MOS values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epresent </a:t>
            </a:r>
            <a:r>
              <a:rPr lang="en-US" sz="1600" b="1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 tied rank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when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t least one of them is inside of the 95%CI of the other one. 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n that case, two MOS values create a set representing a tied rank (Fig. c).</a:t>
            </a:r>
          </a:p>
          <a:p>
            <a:pPr defTabSz="2952475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UcPeriod"/>
              <a:defRPr/>
            </a:pP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 new MOS value can only be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dded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to an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xisting set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f a tied rank when it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akes a tied rank with all members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f that set.</a:t>
            </a:r>
          </a:p>
          <a:p>
            <a:pPr defTabSz="2952475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UcPeriod"/>
              <a:defRPr/>
            </a:pP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When a MOS value (C2) can make a tied rank with two other MOS values (C1, and C3) but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not altogether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, then it joins to the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losest MOS value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(i.e. C3 on fig. e).</a:t>
            </a:r>
          </a:p>
          <a:p>
            <a:pPr defTabSz="2952475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lphaUcPeriod"/>
              <a:defRPr/>
            </a:pP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ound the resulting MOS</a:t>
            </a:r>
            <a:r>
              <a:rPr lang="en-DE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±</a:t>
            </a:r>
            <a:r>
              <a:rPr lang="de-DE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95%CI 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values to </a:t>
            </a:r>
            <a:r>
              <a:rPr lang="en-US" sz="1600" dirty="0">
                <a:solidFill>
                  <a:srgbClr val="C00000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wo fraction digits</a:t>
            </a:r>
            <a:r>
              <a:rPr lang="en-US" sz="1600" dirty="0"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altLang="de-DE"/>
              <a:t>Slide </a:t>
            </a:r>
            <a:fld id="{58B8E772-D5EF-1B4E-8D7D-EC6872580F68}" type="slidenum">
              <a:rPr lang="de-DE" altLang="de-DE" smtClean="0"/>
              <a:pPr>
                <a:defRPr/>
              </a:pPr>
              <a:t>9</a:t>
            </a:fld>
            <a:endParaRPr lang="de-DE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altLang="de-DE"/>
              <a:t>MOS transformation | Naderi &amp; Möller</a:t>
            </a:r>
            <a:endParaRPr lang="en-US" altLang="de-DE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1258" y="2563826"/>
            <a:ext cx="5109918" cy="311633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7891845" y="2455439"/>
            <a:ext cx="1017037" cy="32395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8941762" y="2455438"/>
            <a:ext cx="1017037" cy="32395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9963539" y="2455437"/>
            <a:ext cx="1017037" cy="32395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10940921" y="2455437"/>
            <a:ext cx="1017037" cy="323953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736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7</TotalTime>
  <Words>1078</Words>
  <Application>Microsoft Office PowerPoint</Application>
  <PresentationFormat>Widescreen</PresentationFormat>
  <Paragraphs>231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ＭＳ Ｐゴシック</vt:lpstr>
      <vt:lpstr>Arial</vt:lpstr>
      <vt:lpstr>Calibri</vt:lpstr>
      <vt:lpstr>Cambria Math</vt:lpstr>
      <vt:lpstr>Courier New</vt:lpstr>
      <vt:lpstr>Wingdings</vt:lpstr>
      <vt:lpstr>Technische Universität Berlin | PowerPoint Master</vt:lpstr>
      <vt:lpstr>TCLayout.ActiveDocument.1</vt:lpstr>
      <vt:lpstr>Mean Opinion Score and Ranked based Statistics</vt:lpstr>
      <vt:lpstr>Mean Opinion Score (MOS)</vt:lpstr>
      <vt:lpstr>Mean Opinion Score (MOS) II</vt:lpstr>
      <vt:lpstr>Mean Opinion Score (MOS) III</vt:lpstr>
      <vt:lpstr>Ranked based Statistics – Spearman’s Rank correlation (SPCC)</vt:lpstr>
      <vt:lpstr>Ranked based Statistics – Spearman’s Rank correlation (SPCC)</vt:lpstr>
      <vt:lpstr>Spearman’s Rank correlation (SPCC)</vt:lpstr>
      <vt:lpstr>How plausible “very close” MOS values are?</vt:lpstr>
      <vt:lpstr>Now… MOS Transformation – redefine equal MOS values Calculate rank by considering 95%CI</vt:lpstr>
      <vt:lpstr>Simulation Study </vt:lpstr>
      <vt:lpstr>Conclusion </vt:lpstr>
      <vt:lpstr>  Thank you for your attention!   Questions and comment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Default User</dc:creator>
  <cp:lastModifiedBy>Babak N</cp:lastModifiedBy>
  <cp:revision>240</cp:revision>
  <dcterms:created xsi:type="dcterms:W3CDTF">2013-01-25T10:15:56Z</dcterms:created>
  <dcterms:modified xsi:type="dcterms:W3CDTF">2020-12-15T12:01:32Z</dcterms:modified>
</cp:coreProperties>
</file>